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8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8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通过去除盖子上的灰尘来确保产品质量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帽式除尘装置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</a:t>
            </a:r>
            <a:r>
              <a:rPr lang="en-US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：GEBO </a:t>
            </a:r>
            <a:r>
              <a:rPr lang="en-US" sz="800" kern="0" dirty="0" err="1">
                <a:solidFill>
                  <a:srgbClr val="000000"/>
                </a:solidFill>
                <a:latin typeface="FZZhunYuan-M02S"/>
                <a:cs typeface="FZZhunYuan-M02S"/>
              </a:rPr>
              <a:t>Aidlin</a:t>
            </a:r>
            <a:r>
              <a:rPr lang="en-US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 </a:t>
            </a:r>
            <a:r>
              <a:rPr lang="ja-JP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和 </a:t>
            </a:r>
            <a:r>
              <a:rPr lang="en-US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GEBO OPTIFEED（</a:t>
            </a:r>
            <a:r>
              <a:rPr lang="ja-JP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包括竞争对手的设备）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CAP00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fr-FR" sz="1200" b="1" i="1" dirty="0"/>
              <a:t>Product quality</a:t>
            </a:r>
            <a:endParaRPr lang="en-US" altLang="fr-FR" sz="1200" dirty="0"/>
          </a:p>
          <a:p>
            <a:r>
              <a:rPr lang="en-US" altLang="fr-FR" sz="1200" dirty="0"/>
              <a:t>Increase the cleanness of the caps</a:t>
            </a:r>
          </a:p>
          <a:p>
            <a:endParaRPr lang="en-US" altLang="fr-FR" sz="1200" dirty="0"/>
          </a:p>
          <a:p>
            <a:r>
              <a:rPr lang="en-US" altLang="fr-FR" sz="1200" b="1" i="1" dirty="0"/>
              <a:t>Safety &amp; Ergonomics</a:t>
            </a:r>
            <a:endParaRPr lang="en-US" altLang="fr-FR" sz="1200" dirty="0"/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Low maintenance requirement</a:t>
            </a:r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Reduce cleaning times</a:t>
            </a:r>
          </a:p>
          <a:p>
            <a:endParaRPr lang="en-US" altLang="fr-FR" sz="1200" dirty="0"/>
          </a:p>
          <a:p>
            <a:r>
              <a:rPr lang="en-US" altLang="fr-FR" sz="1200" b="1" i="1" dirty="0" err="1"/>
              <a:t>Felxibility</a:t>
            </a:r>
            <a:endParaRPr lang="en-US" altLang="fr-FR" sz="1200" dirty="0"/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Applicable for all kind of plastic caps</a:t>
            </a:r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Possibility to stop the line in case of cap dedusting stoppage (optional)</a:t>
            </a: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345EC60E-0007-4E99-83E5-545C62D8F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9325" y="2190824"/>
            <a:ext cx="3873500" cy="2060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Ionized compressed air sprayed on both sides of the cap in a treatment box connected to a vacuum device.</a:t>
            </a:r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Treatment box is install on the cap chute; technical box stays on the floor or on the top of the filler.</a:t>
            </a:r>
          </a:p>
          <a:p>
            <a:pPr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altLang="fr-FR" sz="1200" dirty="0"/>
              <a:t>Compressed air filtration is at 0.01 microns, ionized air generator and vacuuming system enclosed in a stainless steel box (technical box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4" descr="https://www.options-upgrades.sidel.com/sites/default/files/ousheet/CAP001-After.png">
            <a:extLst>
              <a:ext uri="{FF2B5EF4-FFF2-40B4-BE49-F238E27FC236}">
                <a16:creationId xmlns:a16="http://schemas.microsoft.com/office/drawing/2014/main" id="{1CCD18C1-ED45-4477-84D3-094F86761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3237" y="3879027"/>
            <a:ext cx="2225675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004</TotalTime>
  <Words>155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1_NewSidel_Template_4x3_with add layouts</vt:lpstr>
      <vt:lpstr>think-cell Folie</vt:lpstr>
      <vt:lpstr>通过去除盖子上的灰尘来确保产品质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1</cp:revision>
  <dcterms:created xsi:type="dcterms:W3CDTF">2018-02-10T17:04:39Z</dcterms:created>
  <dcterms:modified xsi:type="dcterms:W3CDTF">2021-06-08T07:1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8T07:17:24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